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303" r:id="rId2"/>
    <p:sldId id="319" r:id="rId3"/>
    <p:sldId id="657" r:id="rId4"/>
    <p:sldId id="658" r:id="rId5"/>
    <p:sldId id="655" r:id="rId6"/>
    <p:sldId id="652" r:id="rId7"/>
    <p:sldId id="309" r:id="rId8"/>
  </p:sldIdLst>
  <p:sldSz cx="9144000" cy="6858000" type="screen4x3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apértelmezett szakasz" id="{89B2F006-B2A0-4364-AA7B-4D9F04A7EA99}">
          <p14:sldIdLst>
            <p14:sldId id="303"/>
            <p14:sldId id="319"/>
          </p14:sldIdLst>
        </p14:section>
        <p14:section name="Névtelen szakasz" id="{ABBAC890-65FB-426B-8C1A-61D554ECB013}">
          <p14:sldIdLst>
            <p14:sldId id="657"/>
            <p14:sldId id="658"/>
            <p14:sldId id="655"/>
            <p14:sldId id="652"/>
            <p14:sldId id="3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B38AB5-6843-4ECB-B757-BAE413F105D8}" v="110" dt="2023-11-17T07:54:52.69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03" autoAdjust="0"/>
    <p:restoredTop sz="94569" autoAdjust="0"/>
  </p:normalViewPr>
  <p:slideViewPr>
    <p:cSldViewPr snapToGrid="0" snapToObjects="1">
      <p:cViewPr varScale="1">
        <p:scale>
          <a:sx n="78" d="100"/>
          <a:sy n="78" d="100"/>
        </p:scale>
        <p:origin x="1613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r. Balogh Virág" userId="de743ee7-3b87-4646-89b4-7be4b54c933b" providerId="ADAL" clId="{11B38AB5-6843-4ECB-B757-BAE413F105D8}"/>
    <pc:docChg chg="custSel addSld delSld modSld sldOrd addSection replTag">
      <pc:chgData name="Dr. Balogh Virág" userId="de743ee7-3b87-4646-89b4-7be4b54c933b" providerId="ADAL" clId="{11B38AB5-6843-4ECB-B757-BAE413F105D8}" dt="2023-11-17T07:56:14.359" v="4258" actId="113"/>
      <pc:docMkLst>
        <pc:docMk/>
      </pc:docMkLst>
      <pc:sldChg chg="addSp delSp modSp mod">
        <pc:chgData name="Dr. Balogh Virág" userId="de743ee7-3b87-4646-89b4-7be4b54c933b" providerId="ADAL" clId="{11B38AB5-6843-4ECB-B757-BAE413F105D8}" dt="2023-11-17T07:47:13.127" v="3934"/>
        <pc:sldMkLst>
          <pc:docMk/>
          <pc:sldMk cId="0" sldId="303"/>
        </pc:sldMkLst>
        <pc:spChg chg="mod">
          <ac:chgData name="Dr. Balogh Virág" userId="de743ee7-3b87-4646-89b4-7be4b54c933b" providerId="ADAL" clId="{11B38AB5-6843-4ECB-B757-BAE413F105D8}" dt="2023-11-17T07:47:13.004" v="3908" actId="948"/>
          <ac:spMkLst>
            <pc:docMk/>
            <pc:sldMk cId="0" sldId="303"/>
            <ac:spMk id="2" creationId="{00000000-0000-0000-0000-000000000000}"/>
          </ac:spMkLst>
        </pc:spChg>
        <pc:spChg chg="add del mod modVis">
          <ac:chgData name="Dr. Balogh Virág" userId="de743ee7-3b87-4646-89b4-7be4b54c933b" providerId="ADAL" clId="{11B38AB5-6843-4ECB-B757-BAE413F105D8}" dt="2023-11-17T07:47:03.865" v="3844"/>
          <ac:spMkLst>
            <pc:docMk/>
            <pc:sldMk cId="0" sldId="303"/>
            <ac:spMk id="5" creationId="{4057E2E6-2A48-23F2-2C4B-F35B9AC620CD}"/>
          </ac:spMkLst>
        </pc:spChg>
        <pc:spChg chg="add del mod modVis">
          <ac:chgData name="Dr. Balogh Virág" userId="de743ee7-3b87-4646-89b4-7be4b54c933b" providerId="ADAL" clId="{11B38AB5-6843-4ECB-B757-BAE413F105D8}" dt="2023-11-17T07:47:11.434" v="3873"/>
          <ac:spMkLst>
            <pc:docMk/>
            <pc:sldMk cId="0" sldId="303"/>
            <ac:spMk id="7" creationId="{FA2EF440-F862-065F-5421-DAD5FE190DC4}"/>
          </ac:spMkLst>
        </pc:spChg>
        <pc:spChg chg="add del mod modVis">
          <ac:chgData name="Dr. Balogh Virág" userId="de743ee7-3b87-4646-89b4-7be4b54c933b" providerId="ADAL" clId="{11B38AB5-6843-4ECB-B757-BAE413F105D8}" dt="2023-11-17T07:47:12.198" v="3902"/>
          <ac:spMkLst>
            <pc:docMk/>
            <pc:sldMk cId="0" sldId="303"/>
            <ac:spMk id="8" creationId="{AB55B9D6-853B-767B-776E-20E9A1C44650}"/>
          </ac:spMkLst>
        </pc:spChg>
        <pc:spChg chg="add del mod modVis">
          <ac:chgData name="Dr. Balogh Virág" userId="de743ee7-3b87-4646-89b4-7be4b54c933b" providerId="ADAL" clId="{11B38AB5-6843-4ECB-B757-BAE413F105D8}" dt="2023-11-17T07:47:13.105" v="3932"/>
          <ac:spMkLst>
            <pc:docMk/>
            <pc:sldMk cId="0" sldId="303"/>
            <ac:spMk id="9" creationId="{E70D57A9-CF84-858B-D0A3-8C2F523F70BE}"/>
          </ac:spMkLst>
        </pc:spChg>
        <pc:graphicFrameChg chg="mod">
          <ac:chgData name="Dr. Balogh Virág" userId="de743ee7-3b87-4646-89b4-7be4b54c933b" providerId="ADAL" clId="{11B38AB5-6843-4ECB-B757-BAE413F105D8}" dt="2023-11-17T07:47:13.127" v="3934"/>
          <ac:graphicFrameMkLst>
            <pc:docMk/>
            <pc:sldMk cId="0" sldId="303"/>
            <ac:graphicFrameMk id="3" creationId="{C30B72BE-BA0F-1DE8-5A49-A0F424F5C175}"/>
          </ac:graphicFrameMkLst>
        </pc:graphicFrameChg>
      </pc:sldChg>
      <pc:sldChg chg="addSp delSp modSp mod">
        <pc:chgData name="Dr. Balogh Virág" userId="de743ee7-3b87-4646-89b4-7be4b54c933b" providerId="ADAL" clId="{11B38AB5-6843-4ECB-B757-BAE413F105D8}" dt="2023-11-17T07:47:47.273" v="3951" actId="20577"/>
        <pc:sldMkLst>
          <pc:docMk/>
          <pc:sldMk cId="3464408834" sldId="319"/>
        </pc:sldMkLst>
        <pc:spChg chg="mod">
          <ac:chgData name="Dr. Balogh Virág" userId="de743ee7-3b87-4646-89b4-7be4b54c933b" providerId="ADAL" clId="{11B38AB5-6843-4ECB-B757-BAE413F105D8}" dt="2023-11-15T19:46:56.045" v="90" actId="948"/>
          <ac:spMkLst>
            <pc:docMk/>
            <pc:sldMk cId="3464408834" sldId="319"/>
            <ac:spMk id="2" creationId="{00000000-0000-0000-0000-000000000000}"/>
          </ac:spMkLst>
        </pc:spChg>
        <pc:spChg chg="mod">
          <ac:chgData name="Dr. Balogh Virág" userId="de743ee7-3b87-4646-89b4-7be4b54c933b" providerId="ADAL" clId="{11B38AB5-6843-4ECB-B757-BAE413F105D8}" dt="2023-11-17T07:47:47.273" v="3951" actId="20577"/>
          <ac:spMkLst>
            <pc:docMk/>
            <pc:sldMk cId="3464408834" sldId="319"/>
            <ac:spMk id="3" creationId="{00000000-0000-0000-0000-000000000000}"/>
          </ac:spMkLst>
        </pc:spChg>
        <pc:spChg chg="add del mod modVis">
          <ac:chgData name="Dr. Balogh Virág" userId="de743ee7-3b87-4646-89b4-7be4b54c933b" providerId="ADAL" clId="{11B38AB5-6843-4ECB-B757-BAE413F105D8}" dt="2023-11-15T19:46:52.030" v="42"/>
          <ac:spMkLst>
            <pc:docMk/>
            <pc:sldMk cId="3464408834" sldId="319"/>
            <ac:spMk id="7" creationId="{0082B27F-54E5-2FC7-0529-A516D1139DC8}"/>
          </ac:spMkLst>
        </pc:spChg>
        <pc:spChg chg="add del mod modVis">
          <ac:chgData name="Dr. Balogh Virág" userId="de743ee7-3b87-4646-89b4-7be4b54c933b" providerId="ADAL" clId="{11B38AB5-6843-4ECB-B757-BAE413F105D8}" dt="2023-11-15T19:46:53.432" v="71"/>
          <ac:spMkLst>
            <pc:docMk/>
            <pc:sldMk cId="3464408834" sldId="319"/>
            <ac:spMk id="8" creationId="{F417D165-2AAF-EEDB-016E-DD891AC8760B}"/>
          </ac:spMkLst>
        </pc:spChg>
        <pc:spChg chg="add del mod modVis">
          <ac:chgData name="Dr. Balogh Virág" userId="de743ee7-3b87-4646-89b4-7be4b54c933b" providerId="ADAL" clId="{11B38AB5-6843-4ECB-B757-BAE413F105D8}" dt="2023-11-15T19:46:56.105" v="114"/>
          <ac:spMkLst>
            <pc:docMk/>
            <pc:sldMk cId="3464408834" sldId="319"/>
            <ac:spMk id="9" creationId="{C4D071FC-EA7A-E07A-CCE9-5BCDAA7E8676}"/>
          </ac:spMkLst>
        </pc:spChg>
        <pc:graphicFrameChg chg="mod">
          <ac:chgData name="Dr. Balogh Virág" userId="de743ee7-3b87-4646-89b4-7be4b54c933b" providerId="ADAL" clId="{11B38AB5-6843-4ECB-B757-BAE413F105D8}" dt="2023-11-15T19:46:56.113" v="116"/>
          <ac:graphicFrameMkLst>
            <pc:docMk/>
            <pc:sldMk cId="3464408834" sldId="319"/>
            <ac:graphicFrameMk id="6" creationId="{FE85EBEC-3F64-E65E-88E4-FA1CA70391C9}"/>
          </ac:graphicFrameMkLst>
        </pc:graphicFrameChg>
      </pc:sldChg>
      <pc:sldChg chg="del">
        <pc:chgData name="Dr. Balogh Virág" userId="de743ee7-3b87-4646-89b4-7be4b54c933b" providerId="ADAL" clId="{11B38AB5-6843-4ECB-B757-BAE413F105D8}" dt="2023-11-15T20:33:47.073" v="1477" actId="47"/>
        <pc:sldMkLst>
          <pc:docMk/>
          <pc:sldMk cId="0" sldId="338"/>
        </pc:sldMkLst>
      </pc:sldChg>
      <pc:sldChg chg="modSp mod">
        <pc:chgData name="Dr. Balogh Virág" userId="de743ee7-3b87-4646-89b4-7be4b54c933b" providerId="ADAL" clId="{11B38AB5-6843-4ECB-B757-BAE413F105D8}" dt="2023-11-17T07:55:29.104" v="4203" actId="6549"/>
        <pc:sldMkLst>
          <pc:docMk/>
          <pc:sldMk cId="3088245819" sldId="652"/>
        </pc:sldMkLst>
        <pc:spChg chg="mod">
          <ac:chgData name="Dr. Balogh Virág" userId="de743ee7-3b87-4646-89b4-7be4b54c933b" providerId="ADAL" clId="{11B38AB5-6843-4ECB-B757-BAE413F105D8}" dt="2023-11-17T07:55:29.104" v="4203" actId="6549"/>
          <ac:spMkLst>
            <pc:docMk/>
            <pc:sldMk cId="3088245819" sldId="652"/>
            <ac:spMk id="5" creationId="{19B7C8B1-5A20-134E-D0DF-07FCCF446013}"/>
          </ac:spMkLst>
        </pc:spChg>
      </pc:sldChg>
      <pc:sldChg chg="addSp delSp modSp mod">
        <pc:chgData name="Dr. Balogh Virág" userId="de743ee7-3b87-4646-89b4-7be4b54c933b" providerId="ADAL" clId="{11B38AB5-6843-4ECB-B757-BAE413F105D8}" dt="2023-11-17T07:53:31.123" v="4065" actId="20577"/>
        <pc:sldMkLst>
          <pc:docMk/>
          <pc:sldMk cId="2113979781" sldId="655"/>
        </pc:sldMkLst>
        <pc:spChg chg="mod">
          <ac:chgData name="Dr. Balogh Virág" userId="de743ee7-3b87-4646-89b4-7be4b54c933b" providerId="ADAL" clId="{11B38AB5-6843-4ECB-B757-BAE413F105D8}" dt="2023-11-15T20:01:23.229" v="450" actId="948"/>
          <ac:spMkLst>
            <pc:docMk/>
            <pc:sldMk cId="2113979781" sldId="655"/>
            <ac:spMk id="2" creationId="{00000000-0000-0000-0000-000000000000}"/>
          </ac:spMkLst>
        </pc:spChg>
        <pc:spChg chg="mod">
          <ac:chgData name="Dr. Balogh Virág" userId="de743ee7-3b87-4646-89b4-7be4b54c933b" providerId="ADAL" clId="{11B38AB5-6843-4ECB-B757-BAE413F105D8}" dt="2023-11-15T19:47:39.217" v="120" actId="255"/>
          <ac:spMkLst>
            <pc:docMk/>
            <pc:sldMk cId="2113979781" sldId="655"/>
            <ac:spMk id="3" creationId="{00000000-0000-0000-0000-000000000000}"/>
          </ac:spMkLst>
        </pc:spChg>
        <pc:spChg chg="add del mod modVis">
          <ac:chgData name="Dr. Balogh Virág" userId="de743ee7-3b87-4646-89b4-7be4b54c933b" providerId="ADAL" clId="{11B38AB5-6843-4ECB-B757-BAE413F105D8}" dt="2023-11-15T20:01:04.037" v="242"/>
          <ac:spMkLst>
            <pc:docMk/>
            <pc:sldMk cId="2113979781" sldId="655"/>
            <ac:spMk id="4" creationId="{195F68DF-FFB0-CE89-BA20-EC985D9E9B54}"/>
          </ac:spMkLst>
        </pc:spChg>
        <pc:spChg chg="mod">
          <ac:chgData name="Dr. Balogh Virág" userId="de743ee7-3b87-4646-89b4-7be4b54c933b" providerId="ADAL" clId="{11B38AB5-6843-4ECB-B757-BAE413F105D8}" dt="2023-11-15T19:47:39.217" v="120" actId="255"/>
          <ac:spMkLst>
            <pc:docMk/>
            <pc:sldMk cId="2113979781" sldId="655"/>
            <ac:spMk id="5" creationId="{9594DC81-767C-4693-B76D-9CEAA3ACF291}"/>
          </ac:spMkLst>
        </pc:spChg>
        <pc:spChg chg="mod">
          <ac:chgData name="Dr. Balogh Virág" userId="de743ee7-3b87-4646-89b4-7be4b54c933b" providerId="ADAL" clId="{11B38AB5-6843-4ECB-B757-BAE413F105D8}" dt="2023-11-15T19:47:39.217" v="120" actId="255"/>
          <ac:spMkLst>
            <pc:docMk/>
            <pc:sldMk cId="2113979781" sldId="655"/>
            <ac:spMk id="6" creationId="{5192F97C-10BC-494D-BE2F-8EEB9533E8CC}"/>
          </ac:spMkLst>
        </pc:spChg>
        <pc:spChg chg="mod">
          <ac:chgData name="Dr. Balogh Virág" userId="de743ee7-3b87-4646-89b4-7be4b54c933b" providerId="ADAL" clId="{11B38AB5-6843-4ECB-B757-BAE413F105D8}" dt="2023-11-17T07:53:31.123" v="4065" actId="20577"/>
          <ac:spMkLst>
            <pc:docMk/>
            <pc:sldMk cId="2113979781" sldId="655"/>
            <ac:spMk id="7" creationId="{CDFF0D4F-4A72-47DA-BA07-3E8456F4D29E}"/>
          </ac:spMkLst>
        </pc:spChg>
        <pc:spChg chg="add del mod modVis">
          <ac:chgData name="Dr. Balogh Virág" userId="de743ee7-3b87-4646-89b4-7be4b54c933b" providerId="ADAL" clId="{11B38AB5-6843-4ECB-B757-BAE413F105D8}" dt="2023-11-15T20:01:06.778" v="276"/>
          <ac:spMkLst>
            <pc:docMk/>
            <pc:sldMk cId="2113979781" sldId="655"/>
            <ac:spMk id="8" creationId="{EC74279F-612A-E9A2-E529-283B54D78B02}"/>
          </ac:spMkLst>
        </pc:spChg>
        <pc:spChg chg="add del mod modVis">
          <ac:chgData name="Dr. Balogh Virág" userId="de743ee7-3b87-4646-89b4-7be4b54c933b" providerId="ADAL" clId="{11B38AB5-6843-4ECB-B757-BAE413F105D8}" dt="2023-11-15T20:01:07.557" v="304"/>
          <ac:spMkLst>
            <pc:docMk/>
            <pc:sldMk cId="2113979781" sldId="655"/>
            <ac:spMk id="9" creationId="{62E098A4-328D-644B-F5A8-C2D1B3BC1016}"/>
          </ac:spMkLst>
        </pc:spChg>
        <pc:spChg chg="mod">
          <ac:chgData name="Dr. Balogh Virág" userId="de743ee7-3b87-4646-89b4-7be4b54c933b" providerId="ADAL" clId="{11B38AB5-6843-4ECB-B757-BAE413F105D8}" dt="2023-11-15T21:05:55.060" v="2173" actId="20577"/>
          <ac:spMkLst>
            <pc:docMk/>
            <pc:sldMk cId="2113979781" sldId="655"/>
            <ac:spMk id="10" creationId="{BB6C462F-FC83-4285-9AB7-D55B20D525C8}"/>
          </ac:spMkLst>
        </pc:spChg>
        <pc:spChg chg="mod">
          <ac:chgData name="Dr. Balogh Virág" userId="de743ee7-3b87-4646-89b4-7be4b54c933b" providerId="ADAL" clId="{11B38AB5-6843-4ECB-B757-BAE413F105D8}" dt="2023-11-17T07:52:28.336" v="4059" actId="113"/>
          <ac:spMkLst>
            <pc:docMk/>
            <pc:sldMk cId="2113979781" sldId="655"/>
            <ac:spMk id="12" creationId="{63DB7AFE-4766-CBD9-C490-0A63859D3BA2}"/>
          </ac:spMkLst>
        </pc:spChg>
        <pc:spChg chg="mod">
          <ac:chgData name="Dr. Balogh Virág" userId="de743ee7-3b87-4646-89b4-7be4b54c933b" providerId="ADAL" clId="{11B38AB5-6843-4ECB-B757-BAE413F105D8}" dt="2023-11-15T21:07:35.553" v="2278" actId="20577"/>
          <ac:spMkLst>
            <pc:docMk/>
            <pc:sldMk cId="2113979781" sldId="655"/>
            <ac:spMk id="13" creationId="{F66A9893-CDD4-3B0B-A0E3-C01D9A911DC3}"/>
          </ac:spMkLst>
        </pc:spChg>
        <pc:spChg chg="del mod">
          <ac:chgData name="Dr. Balogh Virág" userId="de743ee7-3b87-4646-89b4-7be4b54c933b" providerId="ADAL" clId="{11B38AB5-6843-4ECB-B757-BAE413F105D8}" dt="2023-11-15T20:35:33.415" v="1577" actId="478"/>
          <ac:spMkLst>
            <pc:docMk/>
            <pc:sldMk cId="2113979781" sldId="655"/>
            <ac:spMk id="14" creationId="{C3D415CB-098F-112A-1981-4FFEC2F35F51}"/>
          </ac:spMkLst>
        </pc:spChg>
        <pc:spChg chg="del mod">
          <ac:chgData name="Dr. Balogh Virág" userId="de743ee7-3b87-4646-89b4-7be4b54c933b" providerId="ADAL" clId="{11B38AB5-6843-4ECB-B757-BAE413F105D8}" dt="2023-11-15T20:35:33.415" v="1577" actId="478"/>
          <ac:spMkLst>
            <pc:docMk/>
            <pc:sldMk cId="2113979781" sldId="655"/>
            <ac:spMk id="15" creationId="{E66A94C9-02A0-8FDB-0543-DB51E4CB15D5}"/>
          </ac:spMkLst>
        </pc:spChg>
        <pc:spChg chg="del mod">
          <ac:chgData name="Dr. Balogh Virág" userId="de743ee7-3b87-4646-89b4-7be4b54c933b" providerId="ADAL" clId="{11B38AB5-6843-4ECB-B757-BAE413F105D8}" dt="2023-11-15T20:35:33.415" v="1577" actId="478"/>
          <ac:spMkLst>
            <pc:docMk/>
            <pc:sldMk cId="2113979781" sldId="655"/>
            <ac:spMk id="16" creationId="{080BC7C6-DE0F-05C5-9CC9-8612ED422795}"/>
          </ac:spMkLst>
        </pc:spChg>
        <pc:spChg chg="del mod">
          <ac:chgData name="Dr. Balogh Virág" userId="de743ee7-3b87-4646-89b4-7be4b54c933b" providerId="ADAL" clId="{11B38AB5-6843-4ECB-B757-BAE413F105D8}" dt="2023-11-15T20:35:33.415" v="1577" actId="478"/>
          <ac:spMkLst>
            <pc:docMk/>
            <pc:sldMk cId="2113979781" sldId="655"/>
            <ac:spMk id="17" creationId="{9A337084-C9C9-B426-960F-DFE1D5D668A9}"/>
          </ac:spMkLst>
        </pc:spChg>
        <pc:spChg chg="add del mod modVis">
          <ac:chgData name="Dr. Balogh Virág" userId="de743ee7-3b87-4646-89b4-7be4b54c933b" providerId="ADAL" clId="{11B38AB5-6843-4ECB-B757-BAE413F105D8}" dt="2023-11-15T20:01:08.411" v="332"/>
          <ac:spMkLst>
            <pc:docMk/>
            <pc:sldMk cId="2113979781" sldId="655"/>
            <ac:spMk id="18" creationId="{2B87C594-D364-6231-10A3-787A4677AF3B}"/>
          </ac:spMkLst>
        </pc:spChg>
        <pc:spChg chg="add del mod modVis">
          <ac:chgData name="Dr. Balogh Virág" userId="de743ee7-3b87-4646-89b4-7be4b54c933b" providerId="ADAL" clId="{11B38AB5-6843-4ECB-B757-BAE413F105D8}" dt="2023-11-15T20:01:13.042" v="360"/>
          <ac:spMkLst>
            <pc:docMk/>
            <pc:sldMk cId="2113979781" sldId="655"/>
            <ac:spMk id="19" creationId="{3907C975-74BD-E67B-E905-53B8E6B99BC5}"/>
          </ac:spMkLst>
        </pc:spChg>
        <pc:spChg chg="add del mod modVis">
          <ac:chgData name="Dr. Balogh Virág" userId="de743ee7-3b87-4646-89b4-7be4b54c933b" providerId="ADAL" clId="{11B38AB5-6843-4ECB-B757-BAE413F105D8}" dt="2023-11-15T20:01:21.164" v="407"/>
          <ac:spMkLst>
            <pc:docMk/>
            <pc:sldMk cId="2113979781" sldId="655"/>
            <ac:spMk id="20" creationId="{84D9742B-64DA-8B62-AC1E-E835DD1B817A}"/>
          </ac:spMkLst>
        </pc:spChg>
        <pc:spChg chg="add del mod modVis">
          <ac:chgData name="Dr. Balogh Virág" userId="de743ee7-3b87-4646-89b4-7be4b54c933b" providerId="ADAL" clId="{11B38AB5-6843-4ECB-B757-BAE413F105D8}" dt="2023-11-15T20:01:21.552" v="437"/>
          <ac:spMkLst>
            <pc:docMk/>
            <pc:sldMk cId="2113979781" sldId="655"/>
            <ac:spMk id="21" creationId="{F09A370E-6084-855A-5EC6-5444061376BB}"/>
          </ac:spMkLst>
        </pc:spChg>
        <pc:spChg chg="add del mod modVis">
          <ac:chgData name="Dr. Balogh Virág" userId="de743ee7-3b87-4646-89b4-7be4b54c933b" providerId="ADAL" clId="{11B38AB5-6843-4ECB-B757-BAE413F105D8}" dt="2023-11-15T20:01:23.297" v="474"/>
          <ac:spMkLst>
            <pc:docMk/>
            <pc:sldMk cId="2113979781" sldId="655"/>
            <ac:spMk id="22" creationId="{CE93455D-A824-FD55-C74A-7DD977DBB647}"/>
          </ac:spMkLst>
        </pc:spChg>
        <pc:graphicFrameChg chg="mod">
          <ac:chgData name="Dr. Balogh Virág" userId="de743ee7-3b87-4646-89b4-7be4b54c933b" providerId="ADAL" clId="{11B38AB5-6843-4ECB-B757-BAE413F105D8}" dt="2023-11-15T20:01:23.305" v="476"/>
          <ac:graphicFrameMkLst>
            <pc:docMk/>
            <pc:sldMk cId="2113979781" sldId="655"/>
            <ac:graphicFrameMk id="11" creationId="{45C5250A-BA73-A1F9-0DE2-88A36B2BB82C}"/>
          </ac:graphicFrameMkLst>
        </pc:graphicFrameChg>
      </pc:sldChg>
      <pc:sldChg chg="del">
        <pc:chgData name="Dr. Balogh Virág" userId="de743ee7-3b87-4646-89b4-7be4b54c933b" providerId="ADAL" clId="{11B38AB5-6843-4ECB-B757-BAE413F105D8}" dt="2023-11-15T20:33:43.158" v="1476" actId="47"/>
        <pc:sldMkLst>
          <pc:docMk/>
          <pc:sldMk cId="225374873" sldId="656"/>
        </pc:sldMkLst>
      </pc:sldChg>
      <pc:sldChg chg="addSp delSp modSp add mod">
        <pc:chgData name="Dr. Balogh Virág" userId="de743ee7-3b87-4646-89b4-7be4b54c933b" providerId="ADAL" clId="{11B38AB5-6843-4ECB-B757-BAE413F105D8}" dt="2023-11-17T07:50:35.578" v="4050" actId="1076"/>
        <pc:sldMkLst>
          <pc:docMk/>
          <pc:sldMk cId="2709737716" sldId="657"/>
        </pc:sldMkLst>
        <pc:spChg chg="mod ord">
          <ac:chgData name="Dr. Balogh Virág" userId="de743ee7-3b87-4646-89b4-7be4b54c933b" providerId="ADAL" clId="{11B38AB5-6843-4ECB-B757-BAE413F105D8}" dt="2023-11-17T07:48:56.916" v="3985"/>
          <ac:spMkLst>
            <pc:docMk/>
            <pc:sldMk cId="2709737716" sldId="657"/>
            <ac:spMk id="2" creationId="{00000000-0000-0000-0000-000000000000}"/>
          </ac:spMkLst>
        </pc:spChg>
        <pc:spChg chg="del mod">
          <ac:chgData name="Dr. Balogh Virág" userId="de743ee7-3b87-4646-89b4-7be4b54c933b" providerId="ADAL" clId="{11B38AB5-6843-4ECB-B757-BAE413F105D8}" dt="2023-11-15T20:17:08.021" v="1110" actId="478"/>
          <ac:spMkLst>
            <pc:docMk/>
            <pc:sldMk cId="2709737716" sldId="657"/>
            <ac:spMk id="3" creationId="{00000000-0000-0000-0000-000000000000}"/>
          </ac:spMkLst>
        </pc:spChg>
        <pc:spChg chg="add mod ord">
          <ac:chgData name="Dr. Balogh Virág" userId="de743ee7-3b87-4646-89b4-7be4b54c933b" providerId="ADAL" clId="{11B38AB5-6843-4ECB-B757-BAE413F105D8}" dt="2023-11-17T07:48:56.915" v="3983"/>
          <ac:spMkLst>
            <pc:docMk/>
            <pc:sldMk cId="2709737716" sldId="657"/>
            <ac:spMk id="3" creationId="{6D1DE13A-C846-A3F3-FCEA-4485B3765D6A}"/>
          </ac:spMkLst>
        </pc:spChg>
        <pc:spChg chg="mod ord">
          <ac:chgData name="Dr. Balogh Virág" userId="de743ee7-3b87-4646-89b4-7be4b54c933b" providerId="ADAL" clId="{11B38AB5-6843-4ECB-B757-BAE413F105D8}" dt="2023-11-17T07:48:56.918" v="3987"/>
          <ac:spMkLst>
            <pc:docMk/>
            <pc:sldMk cId="2709737716" sldId="657"/>
            <ac:spMk id="4" creationId="{9F29F4F5-2D7A-4357-B73C-A519DE880FFF}"/>
          </ac:spMkLst>
        </pc:spChg>
        <pc:spChg chg="mod ord">
          <ac:chgData name="Dr. Balogh Virág" userId="de743ee7-3b87-4646-89b4-7be4b54c933b" providerId="ADAL" clId="{11B38AB5-6843-4ECB-B757-BAE413F105D8}" dt="2023-11-17T07:48:56.919" v="3989"/>
          <ac:spMkLst>
            <pc:docMk/>
            <pc:sldMk cId="2709737716" sldId="657"/>
            <ac:spMk id="5" creationId="{2FDBE2CA-D6E7-41AB-B00A-BC1E0C44CDC1}"/>
          </ac:spMkLst>
        </pc:spChg>
        <pc:spChg chg="add del mod modVis">
          <ac:chgData name="Dr. Balogh Virág" userId="de743ee7-3b87-4646-89b4-7be4b54c933b" providerId="ADAL" clId="{11B38AB5-6843-4ECB-B757-BAE413F105D8}" dt="2023-11-15T20:16:50.832" v="944"/>
          <ac:spMkLst>
            <pc:docMk/>
            <pc:sldMk cId="2709737716" sldId="657"/>
            <ac:spMk id="7" creationId="{244BF77F-3CCF-4C13-649C-456010688764}"/>
          </ac:spMkLst>
        </pc:spChg>
        <pc:spChg chg="add del mod modVis">
          <ac:chgData name="Dr. Balogh Virág" userId="de743ee7-3b87-4646-89b4-7be4b54c933b" providerId="ADAL" clId="{11B38AB5-6843-4ECB-B757-BAE413F105D8}" dt="2023-11-17T07:48:56.931" v="4007"/>
          <ac:spMkLst>
            <pc:docMk/>
            <pc:sldMk cId="2709737716" sldId="657"/>
            <ac:spMk id="7" creationId="{E059C8E7-731A-EC41-75ED-19FF0C0FAD74}"/>
          </ac:spMkLst>
        </pc:spChg>
        <pc:spChg chg="add del mod modVis">
          <ac:chgData name="Dr. Balogh Virág" userId="de743ee7-3b87-4646-89b4-7be4b54c933b" providerId="ADAL" clId="{11B38AB5-6843-4ECB-B757-BAE413F105D8}" dt="2023-11-15T20:16:52.025" v="975"/>
          <ac:spMkLst>
            <pc:docMk/>
            <pc:sldMk cId="2709737716" sldId="657"/>
            <ac:spMk id="8" creationId="{63EA120B-1AB0-431A-5690-D7858CCD242D}"/>
          </ac:spMkLst>
        </pc:spChg>
        <pc:spChg chg="add del mod">
          <ac:chgData name="Dr. Balogh Virág" userId="de743ee7-3b87-4646-89b4-7be4b54c933b" providerId="ADAL" clId="{11B38AB5-6843-4ECB-B757-BAE413F105D8}" dt="2023-11-17T07:49:59.041" v="4044" actId="47"/>
          <ac:spMkLst>
            <pc:docMk/>
            <pc:sldMk cId="2709737716" sldId="657"/>
            <ac:spMk id="8" creationId="{66AB275F-9425-F51E-A411-66AEB59AE15A}"/>
          </ac:spMkLst>
        </pc:spChg>
        <pc:spChg chg="add del mod modVis">
          <ac:chgData name="Dr. Balogh Virág" userId="de743ee7-3b87-4646-89b4-7be4b54c933b" providerId="ADAL" clId="{11B38AB5-6843-4ECB-B757-BAE413F105D8}" dt="2023-11-15T20:16:57.546" v="1029"/>
          <ac:spMkLst>
            <pc:docMk/>
            <pc:sldMk cId="2709737716" sldId="657"/>
            <ac:spMk id="9" creationId="{5C4FCEF7-9106-ABE4-19A5-11E5D6F9B830}"/>
          </ac:spMkLst>
        </pc:spChg>
        <pc:spChg chg="add mod">
          <ac:chgData name="Dr. Balogh Virág" userId="de743ee7-3b87-4646-89b4-7be4b54c933b" providerId="ADAL" clId="{11B38AB5-6843-4ECB-B757-BAE413F105D8}" dt="2023-11-17T07:50:35.578" v="4050" actId="1076"/>
          <ac:spMkLst>
            <pc:docMk/>
            <pc:sldMk cId="2709737716" sldId="657"/>
            <ac:spMk id="9" creationId="{78EC0175-CC5C-5610-BAB1-98EE3099E026}"/>
          </ac:spMkLst>
        </pc:spChg>
        <pc:spChg chg="add del mod modVis">
          <ac:chgData name="Dr. Balogh Virág" userId="de743ee7-3b87-4646-89b4-7be4b54c933b" providerId="ADAL" clId="{11B38AB5-6843-4ECB-B757-BAE413F105D8}" dt="2023-11-15T20:16:58.078" v="1058"/>
          <ac:spMkLst>
            <pc:docMk/>
            <pc:sldMk cId="2709737716" sldId="657"/>
            <ac:spMk id="10" creationId="{5953C0C0-7276-0813-BF70-32F3D9746143}"/>
          </ac:spMkLst>
        </pc:spChg>
        <pc:spChg chg="add del mod modVis">
          <ac:chgData name="Dr. Balogh Virág" userId="de743ee7-3b87-4646-89b4-7be4b54c933b" providerId="ADAL" clId="{11B38AB5-6843-4ECB-B757-BAE413F105D8}" dt="2023-11-15T20:17:02.214" v="1106"/>
          <ac:spMkLst>
            <pc:docMk/>
            <pc:sldMk cId="2709737716" sldId="657"/>
            <ac:spMk id="11" creationId="{28E404B6-AC78-F2AE-777B-E0CEA241983B}"/>
          </ac:spMkLst>
        </pc:spChg>
        <pc:spChg chg="add del mod">
          <ac:chgData name="Dr. Balogh Virág" userId="de743ee7-3b87-4646-89b4-7be4b54c933b" providerId="ADAL" clId="{11B38AB5-6843-4ECB-B757-BAE413F105D8}" dt="2023-11-15T20:17:15.588" v="1111" actId="478"/>
          <ac:spMkLst>
            <pc:docMk/>
            <pc:sldMk cId="2709737716" sldId="657"/>
            <ac:spMk id="13" creationId="{528939EB-C2D1-5A0E-AF20-795F032D963D}"/>
          </ac:spMkLst>
        </pc:spChg>
        <pc:spChg chg="add del mod">
          <ac:chgData name="Dr. Balogh Virág" userId="de743ee7-3b87-4646-89b4-7be4b54c933b" providerId="ADAL" clId="{11B38AB5-6843-4ECB-B757-BAE413F105D8}" dt="2023-11-17T07:48:19.951" v="3956" actId="478"/>
          <ac:spMkLst>
            <pc:docMk/>
            <pc:sldMk cId="2709737716" sldId="657"/>
            <ac:spMk id="14" creationId="{84B11540-FD18-496D-1C52-AA3DAB9AA2F4}"/>
          </ac:spMkLst>
        </pc:spChg>
        <pc:spChg chg="add mod ord">
          <ac:chgData name="Dr. Balogh Virág" userId="de743ee7-3b87-4646-89b4-7be4b54c933b" providerId="ADAL" clId="{11B38AB5-6843-4ECB-B757-BAE413F105D8}" dt="2023-11-17T07:48:56.921" v="3991"/>
          <ac:spMkLst>
            <pc:docMk/>
            <pc:sldMk cId="2709737716" sldId="657"/>
            <ac:spMk id="15" creationId="{31E18138-9B8C-AD05-289E-B428D259729E}"/>
          </ac:spMkLst>
        </pc:spChg>
        <pc:spChg chg="add mod ord">
          <ac:chgData name="Dr. Balogh Virág" userId="de743ee7-3b87-4646-89b4-7be4b54c933b" providerId="ADAL" clId="{11B38AB5-6843-4ECB-B757-BAE413F105D8}" dt="2023-11-17T07:48:56.922" v="3993"/>
          <ac:spMkLst>
            <pc:docMk/>
            <pc:sldMk cId="2709737716" sldId="657"/>
            <ac:spMk id="16" creationId="{DDF50D3E-EC59-D710-F20B-DDFCF4D06B2C}"/>
          </ac:spMkLst>
        </pc:spChg>
        <pc:spChg chg="add mod ord">
          <ac:chgData name="Dr. Balogh Virág" userId="de743ee7-3b87-4646-89b4-7be4b54c933b" providerId="ADAL" clId="{11B38AB5-6843-4ECB-B757-BAE413F105D8}" dt="2023-11-17T07:48:56.923" v="3995"/>
          <ac:spMkLst>
            <pc:docMk/>
            <pc:sldMk cId="2709737716" sldId="657"/>
            <ac:spMk id="17" creationId="{9DC7614D-53B6-AA92-4C29-DB21DFCF44F3}"/>
          </ac:spMkLst>
        </pc:spChg>
        <pc:spChg chg="add mod ord">
          <ac:chgData name="Dr. Balogh Virág" userId="de743ee7-3b87-4646-89b4-7be4b54c933b" providerId="ADAL" clId="{11B38AB5-6843-4ECB-B757-BAE413F105D8}" dt="2023-11-17T07:49:41.802" v="4041" actId="1076"/>
          <ac:spMkLst>
            <pc:docMk/>
            <pc:sldMk cId="2709737716" sldId="657"/>
            <ac:spMk id="18" creationId="{25CB02D4-1BB3-84E1-B9D9-E24F8BBAF5DC}"/>
          </ac:spMkLst>
        </pc:spChg>
        <pc:spChg chg="add del mod ord">
          <ac:chgData name="Dr. Balogh Virág" userId="de743ee7-3b87-4646-89b4-7be4b54c933b" providerId="ADAL" clId="{11B38AB5-6843-4ECB-B757-BAE413F105D8}" dt="2023-11-17T07:49:07.269" v="4010" actId="478"/>
          <ac:spMkLst>
            <pc:docMk/>
            <pc:sldMk cId="2709737716" sldId="657"/>
            <ac:spMk id="19" creationId="{5BD742AB-0564-7D96-339E-9415C4576DC9}"/>
          </ac:spMkLst>
        </pc:spChg>
        <pc:spChg chg="add mod ord">
          <ac:chgData name="Dr. Balogh Virág" userId="de743ee7-3b87-4646-89b4-7be4b54c933b" providerId="ADAL" clId="{11B38AB5-6843-4ECB-B757-BAE413F105D8}" dt="2023-11-17T07:49:30.471" v="4028" actId="20577"/>
          <ac:spMkLst>
            <pc:docMk/>
            <pc:sldMk cId="2709737716" sldId="657"/>
            <ac:spMk id="20" creationId="{F27CC636-171D-60B2-F8A3-79C9133E909D}"/>
          </ac:spMkLst>
        </pc:spChg>
        <pc:spChg chg="add mod ord">
          <ac:chgData name="Dr. Balogh Virág" userId="de743ee7-3b87-4646-89b4-7be4b54c933b" providerId="ADAL" clId="{11B38AB5-6843-4ECB-B757-BAE413F105D8}" dt="2023-11-17T07:49:15.020" v="4015" actId="20577"/>
          <ac:spMkLst>
            <pc:docMk/>
            <pc:sldMk cId="2709737716" sldId="657"/>
            <ac:spMk id="21" creationId="{4A0479EF-0A0E-9D65-3D40-C5494E401913}"/>
          </ac:spMkLst>
        </pc:spChg>
        <pc:graphicFrameChg chg="mod">
          <ac:chgData name="Dr. Balogh Virág" userId="de743ee7-3b87-4646-89b4-7be4b54c933b" providerId="ADAL" clId="{11B38AB5-6843-4ECB-B757-BAE413F105D8}" dt="2023-11-17T07:48:56.938" v="4009"/>
          <ac:graphicFrameMkLst>
            <pc:docMk/>
            <pc:sldMk cId="2709737716" sldId="657"/>
            <ac:graphicFrameMk id="6" creationId="{FE85EBEC-3F64-E65E-88E4-FA1CA70391C9}"/>
          </ac:graphicFrameMkLst>
        </pc:graphicFrameChg>
      </pc:sldChg>
      <pc:sldChg chg="delSp modSp add mod ord">
        <pc:chgData name="Dr. Balogh Virág" userId="de743ee7-3b87-4646-89b4-7be4b54c933b" providerId="ADAL" clId="{11B38AB5-6843-4ECB-B757-BAE413F105D8}" dt="2023-11-17T07:56:14.359" v="4258" actId="113"/>
        <pc:sldMkLst>
          <pc:docMk/>
          <pc:sldMk cId="1647815433" sldId="658"/>
        </pc:sldMkLst>
        <pc:spChg chg="mod">
          <ac:chgData name="Dr. Balogh Virág" userId="de743ee7-3b87-4646-89b4-7be4b54c933b" providerId="ADAL" clId="{11B38AB5-6843-4ECB-B757-BAE413F105D8}" dt="2023-11-17T07:56:14.359" v="4258" actId="113"/>
          <ac:spMkLst>
            <pc:docMk/>
            <pc:sldMk cId="1647815433" sldId="658"/>
            <ac:spMk id="7" creationId="{CDFF0D4F-4A72-47DA-BA07-3E8456F4D29E}"/>
          </ac:spMkLst>
        </pc:spChg>
        <pc:spChg chg="mod">
          <ac:chgData name="Dr. Balogh Virág" userId="de743ee7-3b87-4646-89b4-7be4b54c933b" providerId="ADAL" clId="{11B38AB5-6843-4ECB-B757-BAE413F105D8}" dt="2023-11-15T21:05:44.963" v="2159" actId="20577"/>
          <ac:spMkLst>
            <pc:docMk/>
            <pc:sldMk cId="1647815433" sldId="658"/>
            <ac:spMk id="10" creationId="{BB6C462F-FC83-4285-9AB7-D55B20D525C8}"/>
          </ac:spMkLst>
        </pc:spChg>
        <pc:spChg chg="mod">
          <ac:chgData name="Dr. Balogh Virág" userId="de743ee7-3b87-4646-89b4-7be4b54c933b" providerId="ADAL" clId="{11B38AB5-6843-4ECB-B757-BAE413F105D8}" dt="2023-11-17T07:52:41.378" v="4061" actId="20577"/>
          <ac:spMkLst>
            <pc:docMk/>
            <pc:sldMk cId="1647815433" sldId="658"/>
            <ac:spMk id="12" creationId="{63DB7AFE-4766-CBD9-C490-0A63859D3BA2}"/>
          </ac:spMkLst>
        </pc:spChg>
        <pc:spChg chg="mod">
          <ac:chgData name="Dr. Balogh Virág" userId="de743ee7-3b87-4646-89b4-7be4b54c933b" providerId="ADAL" clId="{11B38AB5-6843-4ECB-B757-BAE413F105D8}" dt="2023-11-15T21:05:40.259" v="2148" actId="20577"/>
          <ac:spMkLst>
            <pc:docMk/>
            <pc:sldMk cId="1647815433" sldId="658"/>
            <ac:spMk id="13" creationId="{F66A9893-CDD4-3B0B-A0E3-C01D9A911DC3}"/>
          </ac:spMkLst>
        </pc:spChg>
        <pc:spChg chg="del">
          <ac:chgData name="Dr. Balogh Virág" userId="de743ee7-3b87-4646-89b4-7be4b54c933b" providerId="ADAL" clId="{11B38AB5-6843-4ECB-B757-BAE413F105D8}" dt="2023-11-15T20:35:58.835" v="1580" actId="478"/>
          <ac:spMkLst>
            <pc:docMk/>
            <pc:sldMk cId="1647815433" sldId="658"/>
            <ac:spMk id="14" creationId="{C3D415CB-098F-112A-1981-4FFEC2F35F51}"/>
          </ac:spMkLst>
        </pc:spChg>
        <pc:spChg chg="del">
          <ac:chgData name="Dr. Balogh Virág" userId="de743ee7-3b87-4646-89b4-7be4b54c933b" providerId="ADAL" clId="{11B38AB5-6843-4ECB-B757-BAE413F105D8}" dt="2023-11-15T20:35:58.835" v="1580" actId="478"/>
          <ac:spMkLst>
            <pc:docMk/>
            <pc:sldMk cId="1647815433" sldId="658"/>
            <ac:spMk id="15" creationId="{E66A94C9-02A0-8FDB-0543-DB51E4CB15D5}"/>
          </ac:spMkLst>
        </pc:spChg>
        <pc:spChg chg="del">
          <ac:chgData name="Dr. Balogh Virág" userId="de743ee7-3b87-4646-89b4-7be4b54c933b" providerId="ADAL" clId="{11B38AB5-6843-4ECB-B757-BAE413F105D8}" dt="2023-11-15T20:35:58.835" v="1580" actId="478"/>
          <ac:spMkLst>
            <pc:docMk/>
            <pc:sldMk cId="1647815433" sldId="658"/>
            <ac:spMk id="16" creationId="{080BC7C6-DE0F-05C5-9CC9-8612ED422795}"/>
          </ac:spMkLst>
        </pc:spChg>
        <pc:spChg chg="del">
          <ac:chgData name="Dr. Balogh Virág" userId="de743ee7-3b87-4646-89b4-7be4b54c933b" providerId="ADAL" clId="{11B38AB5-6843-4ECB-B757-BAE413F105D8}" dt="2023-11-15T20:35:58.835" v="1580" actId="478"/>
          <ac:spMkLst>
            <pc:docMk/>
            <pc:sldMk cId="1647815433" sldId="658"/>
            <ac:spMk id="17" creationId="{9A337084-C9C9-B426-960F-DFE1D5D668A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212A0A-3FC0-3346-A69A-8137ADF09294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DD0728-DC7B-E648-80D3-C460AB79C84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795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D8D51-6B77-4432-A9E4-09EC0D9C89C2}" type="datetimeFigureOut">
              <a:rPr lang="hu-HU" smtClean="0"/>
              <a:pPr/>
              <a:t>2023. 11. 1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C5E4F8-0CF4-4CE0-AB10-3326F96439AF}" type="slidenum">
              <a:rPr lang="hu-HU" smtClean="0"/>
              <a:pPr/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rgbClr val="4D4D4D"/>
                </a:solidFill>
                <a:latin typeface="Arial"/>
                <a:cs typeface="Arial"/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rgbClr val="4D4D4D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Alcím mintájának szerkesztés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762000" y="3290061"/>
            <a:ext cx="8382000" cy="76200"/>
          </a:xfrm>
          <a:prstGeom prst="rect">
            <a:avLst/>
          </a:prstGeom>
          <a:solidFill>
            <a:srgbClr val="EDA021"/>
          </a:solidFill>
          <a:ln>
            <a:solidFill>
              <a:schemeClr val="bg1"/>
            </a:solidFill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315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762000" y="1219200"/>
            <a:ext cx="8382000" cy="76200"/>
          </a:xfrm>
          <a:prstGeom prst="rect">
            <a:avLst/>
          </a:prstGeom>
          <a:solidFill>
            <a:srgbClr val="EDA021"/>
          </a:solidFill>
          <a:ln>
            <a:solidFill>
              <a:schemeClr val="bg1"/>
            </a:solidFill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3393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 rot="16200000">
            <a:off x="3895539" y="2982632"/>
            <a:ext cx="6041464" cy="76201"/>
          </a:xfrm>
          <a:prstGeom prst="rect">
            <a:avLst/>
          </a:prstGeom>
          <a:solidFill>
            <a:srgbClr val="EDA021"/>
          </a:solidFill>
          <a:ln>
            <a:solidFill>
              <a:schemeClr val="bg1"/>
            </a:solidFill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859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>
                <a:solidFill>
                  <a:srgbClr val="4D4D4D"/>
                </a:solidFill>
                <a:latin typeface="Arial"/>
                <a:cs typeface="Arial"/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4D4D4D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4D4D4D"/>
                </a:solidFill>
                <a:latin typeface="Arial"/>
                <a:cs typeface="Arial"/>
              </a:defRPr>
            </a:lvl3pPr>
            <a:lvl4pPr>
              <a:defRPr>
                <a:solidFill>
                  <a:srgbClr val="4D4D4D"/>
                </a:solidFill>
                <a:latin typeface="Arial"/>
                <a:cs typeface="Arial"/>
              </a:defRPr>
            </a:lvl4pPr>
            <a:lvl5pPr>
              <a:defRPr>
                <a:solidFill>
                  <a:srgbClr val="4D4D4D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57200" y="1219200"/>
            <a:ext cx="8686800" cy="76200"/>
          </a:xfrm>
          <a:prstGeom prst="rect">
            <a:avLst/>
          </a:prstGeom>
          <a:solidFill>
            <a:srgbClr val="EDA021"/>
          </a:solidFill>
          <a:ln>
            <a:solidFill>
              <a:schemeClr val="bg1"/>
            </a:solidFill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3524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4D4D4D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4D4D4D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62000" y="4430805"/>
            <a:ext cx="8382000" cy="76200"/>
          </a:xfrm>
          <a:prstGeom prst="rect">
            <a:avLst/>
          </a:prstGeom>
          <a:solidFill>
            <a:srgbClr val="EDA021"/>
          </a:solidFill>
          <a:ln>
            <a:solidFill>
              <a:schemeClr val="bg1"/>
            </a:solidFill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568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4D4D4D"/>
                </a:solidFill>
              </a:defRPr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>
                <a:solidFill>
                  <a:srgbClr val="4D4D4D"/>
                </a:solidFill>
              </a:defRPr>
            </a:lvl1pPr>
            <a:lvl2pPr>
              <a:defRPr sz="2400">
                <a:solidFill>
                  <a:srgbClr val="4D4D4D"/>
                </a:solidFill>
              </a:defRPr>
            </a:lvl2pPr>
            <a:lvl3pPr>
              <a:defRPr sz="2000">
                <a:solidFill>
                  <a:srgbClr val="4D4D4D"/>
                </a:solidFill>
              </a:defRPr>
            </a:lvl3pPr>
            <a:lvl4pPr>
              <a:defRPr sz="1800">
                <a:solidFill>
                  <a:srgbClr val="4D4D4D"/>
                </a:solidFill>
              </a:defRPr>
            </a:lvl4pPr>
            <a:lvl5pPr>
              <a:defRPr sz="1800">
                <a:solidFill>
                  <a:srgbClr val="4D4D4D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762000" y="1219200"/>
            <a:ext cx="8382000" cy="76200"/>
          </a:xfrm>
          <a:prstGeom prst="rect">
            <a:avLst/>
          </a:prstGeom>
          <a:solidFill>
            <a:srgbClr val="EDA021"/>
          </a:solidFill>
          <a:ln>
            <a:solidFill>
              <a:schemeClr val="bg1"/>
            </a:solidFill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4168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400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762000" y="1219200"/>
            <a:ext cx="8382000" cy="76200"/>
          </a:xfrm>
          <a:prstGeom prst="rect">
            <a:avLst/>
          </a:prstGeom>
          <a:solidFill>
            <a:srgbClr val="EDA021"/>
          </a:solidFill>
          <a:ln>
            <a:solidFill>
              <a:schemeClr val="bg1"/>
            </a:solidFill>
          </a:ln>
          <a:effectLst>
            <a:outerShdw dist="23000" dir="5400000" sx="0" sy="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617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098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30333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1140341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hu-HU"/>
              <a:t>Kép beszúrásához kattintson az ikonra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8032001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807C86-EB61-104E-091A-850A752AFB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27186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9" imgH="499" progId="TCLayout.ActiveDocument.1">
                  <p:embed/>
                </p:oleObj>
              </mc:Choice>
              <mc:Fallback>
                <p:oleObj name="think-cell Slide" r:id="rId14" imgW="499" imgH="499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807C86-EB61-104E-091A-850A752AFB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2824" y="411480"/>
            <a:ext cx="2551176" cy="507492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108" y="6063144"/>
            <a:ext cx="1788894" cy="48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22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rgbClr val="4D4D4D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4D4D4D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4D4D4D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4D4D4D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4D4D4D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4D4D4D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30B72BE-BA0F-1DE8-5A49-A0F424F5C1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5673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0B72BE-BA0F-1DE8-5A49-A0F424F5C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4901" y="1448973"/>
            <a:ext cx="8173795" cy="2796914"/>
          </a:xfrm>
        </p:spPr>
        <p:txBody>
          <a:bodyPr vert="horz">
            <a:normAutofit/>
          </a:bodyPr>
          <a:lstStyle/>
          <a:p>
            <a:pPr algn="l"/>
            <a:r>
              <a:rPr lang="hu-HU" sz="3500" b="1" dirty="0">
                <a:latin typeface="+mj-lt"/>
              </a:rPr>
              <a:t>Az európai intézményrendszer hatása a magyar közigazgatási eljárásjogra</a:t>
            </a:r>
            <a:br>
              <a:rPr lang="en-US" dirty="0">
                <a:latin typeface="+mj-lt"/>
              </a:rPr>
            </a:br>
            <a:br>
              <a:rPr lang="en-US" dirty="0">
                <a:latin typeface="+mj-lt"/>
              </a:rPr>
            </a:br>
            <a:endParaRPr lang="en-US" sz="2889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275320" y="6300216"/>
            <a:ext cx="685800" cy="274320"/>
          </a:xfrm>
          <a:prstGeom prst="rect">
            <a:avLst/>
          </a:prstGeom>
        </p:spPr>
        <p:txBody>
          <a:bodyPr/>
          <a:lstStyle/>
          <a:p>
            <a:fld id="{87510F33-F845-2F48-8657-E19C35B45777}" type="slidenum">
              <a:rPr lang="en-US" smtClean="0">
                <a:latin typeface="+mj-lt"/>
              </a:rPr>
              <a:pPr/>
              <a:t>1</a:t>
            </a:fld>
            <a:endParaRPr lang="en-US">
              <a:latin typeface="+mj-lt"/>
            </a:endParaRPr>
          </a:p>
        </p:txBody>
      </p:sp>
      <p:sp>
        <p:nvSpPr>
          <p:cNvPr id="6" name="Alcím 4"/>
          <p:cNvSpPr txBox="1">
            <a:spLocks/>
          </p:cNvSpPr>
          <p:nvPr/>
        </p:nvSpPr>
        <p:spPr>
          <a:xfrm>
            <a:off x="5117910" y="4677507"/>
            <a:ext cx="3340290" cy="18991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hu-HU" sz="2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+mj-lt"/>
                <a:ea typeface="+mj-ea"/>
                <a:cs typeface="Arial"/>
              </a:rPr>
              <a:t>dr. Balogh Virá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hu-HU" sz="2400" dirty="0">
                <a:solidFill>
                  <a:srgbClr val="4D4D4D"/>
                </a:solidFill>
                <a:latin typeface="+mj-lt"/>
                <a:ea typeface="+mj-ea"/>
                <a:cs typeface="Arial"/>
              </a:rPr>
              <a:t>2023. november 17. </a:t>
            </a:r>
            <a:endParaRPr kumimoji="0" lang="hu-HU" sz="24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+mj-lt"/>
              <a:ea typeface="+mj-ea"/>
              <a:cs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E85EBEC-3F64-E65E-88E4-FA1CA7039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977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85EBEC-3F64-E65E-88E4-FA1CA7039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54973"/>
            <a:ext cx="8229600" cy="1143000"/>
          </a:xfrm>
        </p:spPr>
        <p:txBody>
          <a:bodyPr vert="horz">
            <a:normAutofit/>
          </a:bodyPr>
          <a:lstStyle/>
          <a:p>
            <a:r>
              <a:rPr lang="hu-HU" sz="3200" b="1" dirty="0">
                <a:latin typeface="+mj-lt"/>
              </a:rPr>
              <a:t>Uniós szervezetrendszer és magyar eljárások  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hu-HU" sz="1800" b="1" dirty="0">
                <a:latin typeface="+mj-lt"/>
              </a:rPr>
              <a:t>Európai Unió közigazgatása: megosztott igazgatás </a:t>
            </a:r>
          </a:p>
          <a:p>
            <a:pPr>
              <a:spcBef>
                <a:spcPts val="0"/>
              </a:spcBef>
            </a:pPr>
            <a:r>
              <a:rPr lang="hu-HU" sz="1800" dirty="0">
                <a:latin typeface="+mj-lt"/>
              </a:rPr>
              <a:t>Közvetlen (uniós szervek) és közvetetett tagállami szervek) igazgatás </a:t>
            </a:r>
          </a:p>
          <a:p>
            <a:pPr marL="0" indent="0">
              <a:spcBef>
                <a:spcPts val="0"/>
              </a:spcBef>
              <a:buNone/>
            </a:pPr>
            <a:endParaRPr lang="hu-HU" sz="18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hu-HU" sz="1800" b="1" dirty="0">
                <a:latin typeface="+mj-lt"/>
              </a:rPr>
              <a:t>Szubszidiaritás és arányosság </a:t>
            </a:r>
            <a:endParaRPr lang="hu-HU" sz="1800" dirty="0">
              <a:latin typeface="+mj-lt"/>
            </a:endParaRPr>
          </a:p>
          <a:p>
            <a:pPr>
              <a:spcBef>
                <a:spcPts val="0"/>
              </a:spcBef>
            </a:pPr>
            <a:r>
              <a:rPr lang="hu-HU" sz="1800" dirty="0">
                <a:latin typeface="+mj-lt"/>
              </a:rPr>
              <a:t>Európai Unió kizárólagos hatáskörei </a:t>
            </a:r>
          </a:p>
          <a:p>
            <a:pPr>
              <a:spcBef>
                <a:spcPts val="0"/>
              </a:spcBef>
            </a:pPr>
            <a:r>
              <a:rPr lang="hu-HU" sz="1800" dirty="0">
                <a:latin typeface="+mj-lt"/>
              </a:rPr>
              <a:t>EU és tagállamok megosztott hatáskörei </a:t>
            </a:r>
          </a:p>
          <a:p>
            <a:pPr>
              <a:spcBef>
                <a:spcPts val="0"/>
              </a:spcBef>
            </a:pPr>
            <a:r>
              <a:rPr lang="hu-HU" sz="1800" dirty="0">
                <a:latin typeface="+mj-lt"/>
              </a:rPr>
              <a:t>EU: A tagállamok intézkedéseit támogató, összehangoló vagy kiegészítő intézkedések végrehajtása</a:t>
            </a:r>
          </a:p>
          <a:p>
            <a:pPr marL="0" indent="0">
              <a:spcBef>
                <a:spcPts val="0"/>
              </a:spcBef>
              <a:buNone/>
            </a:pPr>
            <a:endParaRPr lang="hu-HU" sz="18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hu-HU" sz="1800" b="1" dirty="0">
                <a:latin typeface="+mj-lt"/>
              </a:rPr>
              <a:t>Gazdaságszabályozás </a:t>
            </a:r>
          </a:p>
          <a:p>
            <a:pPr>
              <a:spcBef>
                <a:spcPts val="0"/>
              </a:spcBef>
            </a:pPr>
            <a:r>
              <a:rPr lang="hu-HU" sz="1800" dirty="0">
                <a:latin typeface="+mj-lt"/>
              </a:rPr>
              <a:t>Egységes közös piac kialakítása</a:t>
            </a:r>
          </a:p>
          <a:p>
            <a:pPr>
              <a:spcBef>
                <a:spcPts val="0"/>
              </a:spcBef>
            </a:pPr>
            <a:r>
              <a:rPr lang="hu-HU" sz="1800" dirty="0">
                <a:latin typeface="+mj-lt"/>
              </a:rPr>
              <a:t>Anyagi jogi szabályok egységesítése (elsődleges/ másodlagos jog, irányelv/rendelet)</a:t>
            </a:r>
          </a:p>
          <a:p>
            <a:pPr>
              <a:spcBef>
                <a:spcPts val="0"/>
              </a:spcBef>
            </a:pPr>
            <a:r>
              <a:rPr lang="hu-HU" sz="1800" dirty="0">
                <a:latin typeface="+mj-lt"/>
              </a:rPr>
              <a:t>Eljárási jogi szabályok egységesítése? </a:t>
            </a:r>
          </a:p>
          <a:p>
            <a:pPr>
              <a:spcBef>
                <a:spcPts val="0"/>
              </a:spcBef>
            </a:pPr>
            <a:endParaRPr lang="hu-HU" sz="1600" dirty="0">
              <a:latin typeface="+mj-lt"/>
            </a:endParaRPr>
          </a:p>
          <a:p>
            <a:pPr>
              <a:spcBef>
                <a:spcPts val="0"/>
              </a:spcBef>
            </a:pPr>
            <a:endParaRPr lang="hu-HU" sz="1500" dirty="0">
              <a:latin typeface="+mj-lt"/>
            </a:endParaRPr>
          </a:p>
          <a:p>
            <a:endParaRPr lang="hu-HU" sz="1600" dirty="0">
              <a:latin typeface="+mj-lt"/>
            </a:endParaRPr>
          </a:p>
          <a:p>
            <a:pPr marL="0" indent="0">
              <a:buNone/>
            </a:pPr>
            <a:endParaRPr lang="hu-HU" sz="1600" dirty="0">
              <a:latin typeface="+mj-lt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F29F4F5-2D7A-4357-B73C-A519DE880FFF}"/>
              </a:ext>
            </a:extLst>
          </p:cNvPr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hu-HU" sz="1600" dirty="0">
              <a:latin typeface="+mj-lt"/>
            </a:endParaRPr>
          </a:p>
          <a:p>
            <a:pPr lvl="1"/>
            <a:endParaRPr lang="en-US" sz="1600" dirty="0">
              <a:latin typeface="+mj-lt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BE2CA-D6E7-41AB-B00A-BC1E0C44CDC1}"/>
              </a:ext>
            </a:extLst>
          </p:cNvPr>
          <p:cNvSpPr txBox="1">
            <a:spLocks/>
          </p:cNvSpPr>
          <p:nvPr/>
        </p:nvSpPr>
        <p:spPr>
          <a:xfrm>
            <a:off x="8175008" y="5882185"/>
            <a:ext cx="829435" cy="44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510F33-F845-2F48-8657-E19C35B45777}" type="slidenum">
              <a:rPr lang="en-US" sz="1600" smtClean="0">
                <a:latin typeface="+mj-lt"/>
              </a:rPr>
              <a:pPr/>
              <a:t>2</a:t>
            </a:fld>
            <a:endParaRPr lang="en-US" sz="1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44088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E85EBEC-3F64-E65E-88E4-FA1CA70391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200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85EBEC-3F64-E65E-88E4-FA1CA7039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Nyíl: jobbra mutató 2">
            <a:extLst>
              <a:ext uri="{FF2B5EF4-FFF2-40B4-BE49-F238E27FC236}">
                <a16:creationId xmlns:a16="http://schemas.microsoft.com/office/drawing/2014/main" id="{6D1DE13A-C846-A3F3-FCEA-4485B3765D6A}"/>
              </a:ext>
            </a:extLst>
          </p:cNvPr>
          <p:cNvSpPr/>
          <p:nvPr/>
        </p:nvSpPr>
        <p:spPr>
          <a:xfrm>
            <a:off x="589935" y="2251587"/>
            <a:ext cx="7964129" cy="1393723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54973"/>
            <a:ext cx="8229600" cy="1143000"/>
          </a:xfrm>
        </p:spPr>
        <p:txBody>
          <a:bodyPr vert="horz">
            <a:normAutofit/>
          </a:bodyPr>
          <a:lstStyle/>
          <a:p>
            <a:r>
              <a:rPr lang="hu-HU" sz="3200" b="1" dirty="0">
                <a:latin typeface="+mj-lt"/>
              </a:rPr>
              <a:t>Anyagi jogi egységesítés és eljárásjogi egységesítés 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F29F4F5-2D7A-4357-B73C-A519DE880FFF}"/>
              </a:ext>
            </a:extLst>
          </p:cNvPr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hu-HU" sz="1600" dirty="0">
              <a:latin typeface="+mj-lt"/>
            </a:endParaRPr>
          </a:p>
          <a:p>
            <a:pPr lvl="1"/>
            <a:endParaRPr lang="en-US" sz="1600" dirty="0">
              <a:latin typeface="+mj-lt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FDBE2CA-D6E7-41AB-B00A-BC1E0C44CDC1}"/>
              </a:ext>
            </a:extLst>
          </p:cNvPr>
          <p:cNvSpPr txBox="1">
            <a:spLocks/>
          </p:cNvSpPr>
          <p:nvPr/>
        </p:nvSpPr>
        <p:spPr>
          <a:xfrm>
            <a:off x="8175008" y="5882185"/>
            <a:ext cx="829435" cy="44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7510F33-F845-2F48-8657-E19C35B45777}" type="slidenum">
              <a:rPr lang="en-US" sz="1600" smtClean="0">
                <a:latin typeface="+mj-lt"/>
              </a:rPr>
              <a:pPr/>
              <a:t>3</a:t>
            </a:fld>
            <a:endParaRPr lang="en-US" sz="1600" dirty="0">
              <a:latin typeface="+mj-lt"/>
            </a:endParaRPr>
          </a:p>
        </p:txBody>
      </p:sp>
      <p:sp>
        <p:nvSpPr>
          <p:cNvPr id="15" name="Nyíl: balra-jobbra mutató 14">
            <a:extLst>
              <a:ext uri="{FF2B5EF4-FFF2-40B4-BE49-F238E27FC236}">
                <a16:creationId xmlns:a16="http://schemas.microsoft.com/office/drawing/2014/main" id="{31E18138-9B8C-AD05-289E-B428D259729E}"/>
              </a:ext>
            </a:extLst>
          </p:cNvPr>
          <p:cNvSpPr/>
          <p:nvPr/>
        </p:nvSpPr>
        <p:spPr>
          <a:xfrm>
            <a:off x="589935" y="4136470"/>
            <a:ext cx="7964129" cy="1393723"/>
          </a:xfrm>
          <a:prstGeom prst="leftRightArrow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Szövegdoboz 15">
            <a:extLst>
              <a:ext uri="{FF2B5EF4-FFF2-40B4-BE49-F238E27FC236}">
                <a16:creationId xmlns:a16="http://schemas.microsoft.com/office/drawing/2014/main" id="{DDF50D3E-EC59-D710-F20B-DDFCF4D06B2C}"/>
              </a:ext>
            </a:extLst>
          </p:cNvPr>
          <p:cNvSpPr txBox="1"/>
          <p:nvPr/>
        </p:nvSpPr>
        <p:spPr>
          <a:xfrm>
            <a:off x="943898" y="4513006"/>
            <a:ext cx="1917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Tagállami szervezetrendszer</a:t>
            </a:r>
            <a:endParaRPr lang="en-US" dirty="0"/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9DC7614D-53B6-AA92-4C29-DB21DFCF44F3}"/>
              </a:ext>
            </a:extLst>
          </p:cNvPr>
          <p:cNvSpPr txBox="1"/>
          <p:nvPr/>
        </p:nvSpPr>
        <p:spPr>
          <a:xfrm>
            <a:off x="6164827" y="4510165"/>
            <a:ext cx="23105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Uniós  szervezetrendszer</a:t>
            </a:r>
            <a:endParaRPr lang="en-US" dirty="0"/>
          </a:p>
        </p:txBody>
      </p:sp>
      <p:sp>
        <p:nvSpPr>
          <p:cNvPr id="18" name="Szövegdoboz 17">
            <a:extLst>
              <a:ext uri="{FF2B5EF4-FFF2-40B4-BE49-F238E27FC236}">
                <a16:creationId xmlns:a16="http://schemas.microsoft.com/office/drawing/2014/main" id="{25CB02D4-1BB3-84E1-B9D9-E24F8BBAF5DC}"/>
              </a:ext>
            </a:extLst>
          </p:cNvPr>
          <p:cNvSpPr txBox="1"/>
          <p:nvPr/>
        </p:nvSpPr>
        <p:spPr>
          <a:xfrm>
            <a:off x="931056" y="2701458"/>
            <a:ext cx="19172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Elsődleges jog / </a:t>
            </a:r>
            <a:r>
              <a:rPr lang="hu-HU" dirty="0" err="1"/>
              <a:t>soft</a:t>
            </a:r>
            <a:r>
              <a:rPr lang="hu-HU" dirty="0"/>
              <a:t> </a:t>
            </a:r>
            <a:r>
              <a:rPr lang="hu-HU" dirty="0" err="1"/>
              <a:t>law</a:t>
            </a:r>
            <a:r>
              <a:rPr lang="hu-HU" dirty="0"/>
              <a:t>  </a:t>
            </a:r>
            <a:endParaRPr lang="en-US" dirty="0"/>
          </a:p>
        </p:txBody>
      </p:sp>
      <p:sp>
        <p:nvSpPr>
          <p:cNvPr id="20" name="Szövegdoboz 19">
            <a:extLst>
              <a:ext uri="{FF2B5EF4-FFF2-40B4-BE49-F238E27FC236}">
                <a16:creationId xmlns:a16="http://schemas.microsoft.com/office/drawing/2014/main" id="{F27CC636-171D-60B2-F8A3-79C9133E909D}"/>
              </a:ext>
            </a:extLst>
          </p:cNvPr>
          <p:cNvSpPr txBox="1"/>
          <p:nvPr/>
        </p:nvSpPr>
        <p:spPr>
          <a:xfrm>
            <a:off x="3224983" y="2701459"/>
            <a:ext cx="28415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Minimum/maximum harmonizációs irányelvek  </a:t>
            </a:r>
            <a:endParaRPr lang="en-US" dirty="0"/>
          </a:p>
        </p:txBody>
      </p:sp>
      <p:sp>
        <p:nvSpPr>
          <p:cNvPr id="21" name="Szövegdoboz 20">
            <a:extLst>
              <a:ext uri="{FF2B5EF4-FFF2-40B4-BE49-F238E27FC236}">
                <a16:creationId xmlns:a16="http://schemas.microsoft.com/office/drawing/2014/main" id="{4A0479EF-0A0E-9D65-3D40-C5494E401913}"/>
              </a:ext>
            </a:extLst>
          </p:cNvPr>
          <p:cNvSpPr txBox="1"/>
          <p:nvPr/>
        </p:nvSpPr>
        <p:spPr>
          <a:xfrm>
            <a:off x="6164827" y="2711237"/>
            <a:ext cx="19172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Rendeletek  </a:t>
            </a:r>
            <a:endParaRPr lang="en-US" dirty="0"/>
          </a:p>
        </p:txBody>
      </p:sp>
      <p:sp>
        <p:nvSpPr>
          <p:cNvPr id="9" name="Szövegdoboz 8">
            <a:extLst>
              <a:ext uri="{FF2B5EF4-FFF2-40B4-BE49-F238E27FC236}">
                <a16:creationId xmlns:a16="http://schemas.microsoft.com/office/drawing/2014/main" id="{78EC0175-CC5C-5610-BAB1-98EE3099E026}"/>
              </a:ext>
            </a:extLst>
          </p:cNvPr>
          <p:cNvSpPr txBox="1"/>
          <p:nvPr/>
        </p:nvSpPr>
        <p:spPr>
          <a:xfrm>
            <a:off x="4360606" y="4513006"/>
            <a:ext cx="11012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3200" b="1" dirty="0"/>
              <a:t>?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val="2709737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5C5250A-BA73-A1F9-0DE2-88A36B2BB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C5250A-BA73-A1F9-0DE2-88A36B2BB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367" y="260990"/>
            <a:ext cx="9000701" cy="896024"/>
          </a:xfrm>
        </p:spPr>
        <p:txBody>
          <a:bodyPr vert="horz">
            <a:noAutofit/>
          </a:bodyPr>
          <a:lstStyle/>
          <a:p>
            <a:r>
              <a:rPr lang="hu-HU" sz="3600" b="1" dirty="0">
                <a:latin typeface="+mj-lt"/>
              </a:rPr>
              <a:t>Egyes ágazati szabályok </a:t>
            </a:r>
            <a:endParaRPr lang="en-US" sz="3600" b="1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0518" y="1207814"/>
            <a:ext cx="8229600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endParaRPr lang="hu-HU" sz="1600" dirty="0">
              <a:latin typeface="+mj-lt"/>
            </a:endParaRPr>
          </a:p>
        </p:txBody>
      </p:sp>
      <p:sp>
        <p:nvSpPr>
          <p:cNvPr id="5" name="Tartalom helye 7">
            <a:extLst>
              <a:ext uri="{FF2B5EF4-FFF2-40B4-BE49-F238E27FC236}">
                <a16:creationId xmlns:a16="http://schemas.microsoft.com/office/drawing/2014/main" id="{9594DC81-767C-4693-B76D-9CEAA3ACF291}"/>
              </a:ext>
            </a:extLst>
          </p:cNvPr>
          <p:cNvSpPr txBox="1">
            <a:spLocks/>
          </p:cNvSpPr>
          <p:nvPr/>
        </p:nvSpPr>
        <p:spPr>
          <a:xfrm>
            <a:off x="611968" y="143323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/>
              <a:buNone/>
            </a:pPr>
            <a:endParaRPr lang="hu-HU" sz="1600">
              <a:latin typeface="Calibri  "/>
            </a:endParaRPr>
          </a:p>
          <a:p>
            <a:pPr>
              <a:buFont typeface="Arial"/>
              <a:buNone/>
            </a:pPr>
            <a:endParaRPr lang="hu-HU" sz="1600" dirty="0">
              <a:latin typeface="Calibri  "/>
            </a:endParaRPr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id="{5192F97C-10BC-494D-BE2F-8EEB9533E8CC}"/>
              </a:ext>
            </a:extLst>
          </p:cNvPr>
          <p:cNvSpPr/>
          <p:nvPr/>
        </p:nvSpPr>
        <p:spPr bwMode="gray">
          <a:xfrm>
            <a:off x="529443" y="1600200"/>
            <a:ext cx="8157357" cy="44092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600" dirty="0">
              <a:latin typeface="Calibri  "/>
              <a:cs typeface="Arial" panose="020B0604020202020204" pitchFamily="34" charset="0"/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DFF0D4F-4A72-47DA-BA07-3E8456F4D29E}"/>
              </a:ext>
            </a:extLst>
          </p:cNvPr>
          <p:cNvSpPr txBox="1">
            <a:spLocks/>
          </p:cNvSpPr>
          <p:nvPr/>
        </p:nvSpPr>
        <p:spPr bwMode="gray">
          <a:xfrm>
            <a:off x="645332" y="2066006"/>
            <a:ext cx="3829457" cy="37906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101/102. cikkek és tagállami versenyjog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Tagállamok közötti kereskedelem érintettsége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Bizottság: hatósági jogkörök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endParaRPr lang="hu-HU" sz="1600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1/2003/EU rendelet </a:t>
            </a:r>
          </a:p>
          <a:p>
            <a:pPr lvl="1">
              <a:buClrTx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Bizottság eljárási szabályai  </a:t>
            </a:r>
          </a:p>
          <a:p>
            <a:pPr lvl="1">
              <a:buClrTx/>
            </a:pPr>
            <a:endParaRPr lang="hu-HU" sz="1600" b="1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European </a:t>
            </a:r>
            <a:r>
              <a:rPr lang="hu-HU" sz="1600" b="1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Competition</a:t>
            </a: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Network </a:t>
            </a:r>
          </a:p>
          <a:p>
            <a:pPr lvl="1">
              <a:buClrTx/>
            </a:pPr>
            <a:endParaRPr lang="hu-HU" sz="1600" b="1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zankció mértéke: 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nettó </a:t>
            </a:r>
            <a:r>
              <a:rPr lang="hu-HU" sz="1600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arbevétel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10%-a (Magyarországon 13%) </a:t>
            </a: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BB6C462F-FC83-4285-9AB7-D55B20D525C8}"/>
              </a:ext>
            </a:extLst>
          </p:cNvPr>
          <p:cNvSpPr txBox="1">
            <a:spLocks/>
          </p:cNvSpPr>
          <p:nvPr/>
        </p:nvSpPr>
        <p:spPr bwMode="gray">
          <a:xfrm>
            <a:off x="645332" y="1723109"/>
            <a:ext cx="3852429" cy="342898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rgbClr val="E20074"/>
              </a:buClr>
            </a:pPr>
            <a:r>
              <a:rPr lang="hu-HU" sz="1600" b="1" dirty="0">
                <a:solidFill>
                  <a:schemeClr val="bg1"/>
                </a:solidFill>
                <a:latin typeface="Calibri  "/>
                <a:cs typeface="Arial" panose="020B0604020202020204" pitchFamily="34" charset="0"/>
              </a:rPr>
              <a:t>Versenyjog </a:t>
            </a:r>
          </a:p>
        </p:txBody>
      </p: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63DB7AFE-4766-CBD9-C490-0A63859D3BA2}"/>
              </a:ext>
            </a:extLst>
          </p:cNvPr>
          <p:cNvSpPr txBox="1">
            <a:spLocks/>
          </p:cNvSpPr>
          <p:nvPr/>
        </p:nvSpPr>
        <p:spPr bwMode="gray">
          <a:xfrm>
            <a:off x="4669211" y="2066007"/>
            <a:ext cx="3911982" cy="3790678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2017/2394/EU – Consumer </a:t>
            </a:r>
            <a:r>
              <a:rPr lang="hu-HU" sz="1600" b="1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Protection</a:t>
            </a: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Cooperation</a:t>
            </a: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Network </a:t>
            </a: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Eljárástípusok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Információ iránti megkeresés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Végrehajtási intézkedés iránti megkeresés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Összehangolt ellenőrzések 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Összehangolt fellépések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endParaRPr lang="hu-HU" sz="1600" b="1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Koordinátor / Európai Bizottság szerepe </a:t>
            </a:r>
          </a:p>
          <a:p>
            <a:pPr lvl="1">
              <a:buClrTx/>
            </a:pPr>
            <a:endParaRPr lang="hu-HU" sz="1600" b="1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zankció mértéke: 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nettó árbevétel 4%-a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endParaRPr lang="hu-HU" sz="1600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F66A9893-CDD4-3B0B-A0E3-C01D9A911DC3}"/>
              </a:ext>
            </a:extLst>
          </p:cNvPr>
          <p:cNvSpPr txBox="1">
            <a:spLocks/>
          </p:cNvSpPr>
          <p:nvPr/>
        </p:nvSpPr>
        <p:spPr bwMode="gray">
          <a:xfrm>
            <a:off x="4669211" y="1718806"/>
            <a:ext cx="3911982" cy="347201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rgbClr val="E20074"/>
              </a:buClr>
            </a:pPr>
            <a:r>
              <a:rPr lang="hu-HU" sz="1600" b="1" dirty="0">
                <a:solidFill>
                  <a:schemeClr val="bg1"/>
                </a:solidFill>
                <a:latin typeface="Calibri  "/>
                <a:cs typeface="Arial" panose="020B0604020202020204" pitchFamily="34" charset="0"/>
              </a:rPr>
              <a:t>Fogyasztóvédelem </a:t>
            </a:r>
          </a:p>
        </p:txBody>
      </p:sp>
    </p:spTree>
    <p:extLst>
      <p:ext uri="{BB962C8B-B14F-4D97-AF65-F5344CB8AC3E}">
        <p14:creationId xmlns:p14="http://schemas.microsoft.com/office/powerpoint/2010/main" val="16478154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45C5250A-BA73-A1F9-0DE2-88A36B2BB8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22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C5250A-BA73-A1F9-0DE2-88A36B2BB8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367" y="260990"/>
            <a:ext cx="9000701" cy="896024"/>
          </a:xfrm>
        </p:spPr>
        <p:txBody>
          <a:bodyPr vert="horz">
            <a:noAutofit/>
          </a:bodyPr>
          <a:lstStyle/>
          <a:p>
            <a:r>
              <a:rPr lang="hu-HU" sz="3600" b="1" dirty="0">
                <a:latin typeface="+mj-lt"/>
              </a:rPr>
              <a:t>Egyes ágazati szabályok </a:t>
            </a:r>
            <a:endParaRPr lang="en-US" sz="3600" b="1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0518" y="1207814"/>
            <a:ext cx="8229600" cy="4525963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endParaRPr lang="hu-HU" sz="1600" dirty="0">
              <a:latin typeface="+mj-lt"/>
            </a:endParaRPr>
          </a:p>
        </p:txBody>
      </p:sp>
      <p:sp>
        <p:nvSpPr>
          <p:cNvPr id="5" name="Tartalom helye 7">
            <a:extLst>
              <a:ext uri="{FF2B5EF4-FFF2-40B4-BE49-F238E27FC236}">
                <a16:creationId xmlns:a16="http://schemas.microsoft.com/office/drawing/2014/main" id="{9594DC81-767C-4693-B76D-9CEAA3ACF291}"/>
              </a:ext>
            </a:extLst>
          </p:cNvPr>
          <p:cNvSpPr txBox="1">
            <a:spLocks/>
          </p:cNvSpPr>
          <p:nvPr/>
        </p:nvSpPr>
        <p:spPr>
          <a:xfrm>
            <a:off x="611968" y="143323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D4D4D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/>
              <a:buNone/>
            </a:pPr>
            <a:endParaRPr lang="hu-HU" sz="1600">
              <a:latin typeface="Calibri  "/>
            </a:endParaRPr>
          </a:p>
          <a:p>
            <a:pPr>
              <a:buFont typeface="Arial"/>
              <a:buNone/>
            </a:pPr>
            <a:endParaRPr lang="hu-HU" sz="1600" dirty="0">
              <a:latin typeface="Calibri  "/>
            </a:endParaRPr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id="{5192F97C-10BC-494D-BE2F-8EEB9533E8CC}"/>
              </a:ext>
            </a:extLst>
          </p:cNvPr>
          <p:cNvSpPr/>
          <p:nvPr/>
        </p:nvSpPr>
        <p:spPr bwMode="gray">
          <a:xfrm>
            <a:off x="529443" y="1600200"/>
            <a:ext cx="8157357" cy="4409225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600" dirty="0">
              <a:latin typeface="Calibri  "/>
              <a:cs typeface="Arial" panose="020B0604020202020204" pitchFamily="34" charset="0"/>
            </a:endParaRP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DFF0D4F-4A72-47DA-BA07-3E8456F4D29E}"/>
              </a:ext>
            </a:extLst>
          </p:cNvPr>
          <p:cNvSpPr txBox="1">
            <a:spLocks/>
          </p:cNvSpPr>
          <p:nvPr/>
        </p:nvSpPr>
        <p:spPr bwMode="gray">
          <a:xfrm>
            <a:off x="645332" y="2066006"/>
            <a:ext cx="3829457" cy="379067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1972/2018/EU – Európai Hírközlési Kódex </a:t>
            </a: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pektrumszabályozás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Bizottság és RSPG szerepe </a:t>
            </a: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Piacelemzési eljárások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Bizottság szerepe </a:t>
            </a:r>
          </a:p>
          <a:p>
            <a:pPr marL="511160" lvl="2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Ajánlás </a:t>
            </a:r>
          </a:p>
          <a:p>
            <a:pPr marL="511160" lvl="2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Egyes piacmeghatározások </a:t>
            </a:r>
          </a:p>
          <a:p>
            <a:pPr lvl="1">
              <a:buClrTx/>
            </a:pPr>
            <a:endParaRPr lang="hu-HU" sz="1600" b="1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(EU) 2018/1971 - BEREC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Ajánlások, iránymutatások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endParaRPr lang="hu-HU" sz="1600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zankció mértéke: 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nem harmonizált </a:t>
            </a:r>
          </a:p>
          <a:p>
            <a:pPr lvl="1">
              <a:buClrTx/>
            </a:pPr>
            <a:endParaRPr lang="hu-HU" sz="1600" b="1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endParaRPr lang="hu-HU" sz="1600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endParaRPr lang="hu-HU" sz="1600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</p:txBody>
      </p:sp>
      <p:sp>
        <p:nvSpPr>
          <p:cNvPr id="10" name="Inhaltsplatzhalter 6">
            <a:extLst>
              <a:ext uri="{FF2B5EF4-FFF2-40B4-BE49-F238E27FC236}">
                <a16:creationId xmlns:a16="http://schemas.microsoft.com/office/drawing/2014/main" id="{BB6C462F-FC83-4285-9AB7-D55B20D525C8}"/>
              </a:ext>
            </a:extLst>
          </p:cNvPr>
          <p:cNvSpPr txBox="1">
            <a:spLocks/>
          </p:cNvSpPr>
          <p:nvPr/>
        </p:nvSpPr>
        <p:spPr bwMode="gray">
          <a:xfrm>
            <a:off x="645332" y="1723109"/>
            <a:ext cx="3852429" cy="342898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rgbClr val="E20074"/>
              </a:buClr>
            </a:pPr>
            <a:r>
              <a:rPr lang="hu-HU" sz="1600" b="1" dirty="0">
                <a:solidFill>
                  <a:schemeClr val="bg1"/>
                </a:solidFill>
                <a:latin typeface="Calibri  "/>
                <a:cs typeface="Arial" panose="020B0604020202020204" pitchFamily="34" charset="0"/>
              </a:rPr>
              <a:t>Hírközlés  </a:t>
            </a:r>
          </a:p>
        </p:txBody>
      </p: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63DB7AFE-4766-CBD9-C490-0A63859D3BA2}"/>
              </a:ext>
            </a:extLst>
          </p:cNvPr>
          <p:cNvSpPr txBox="1">
            <a:spLocks/>
          </p:cNvSpPr>
          <p:nvPr/>
        </p:nvSpPr>
        <p:spPr bwMode="gray">
          <a:xfrm>
            <a:off x="4669211" y="2066007"/>
            <a:ext cx="3911982" cy="378637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(EU) 2022/2065 – Digital </a:t>
            </a:r>
            <a:r>
              <a:rPr lang="hu-HU" sz="1600" b="1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ervices</a:t>
            </a: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Act</a:t>
            </a: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Tagállami hatóságok szerepe: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Digital </a:t>
            </a:r>
            <a:r>
              <a:rPr lang="hu-HU" sz="1600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ervices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Coordinator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European </a:t>
            </a:r>
            <a:r>
              <a:rPr lang="hu-HU" sz="1600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Board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for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Digital </a:t>
            </a:r>
            <a:r>
              <a:rPr lang="hu-HU" sz="1600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ervices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Bizottság szerepe – eljárás indítás </a:t>
            </a:r>
          </a:p>
          <a:p>
            <a:pPr lvl="1">
              <a:buClrTx/>
            </a:pPr>
            <a:endParaRPr lang="hu-HU" sz="1600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(EU) 2022/1925 – Digital </a:t>
            </a:r>
            <a:r>
              <a:rPr lang="hu-HU" sz="1600" b="1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Markets</a:t>
            </a: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Act</a:t>
            </a: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Tagállami hatóságok szerepe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Bizottság szerepe: eljárások lefolytatása, szankciók kiszabása </a:t>
            </a:r>
          </a:p>
          <a:p>
            <a:pPr marL="287338" lvl="1" indent="-285750">
              <a:buClrTx/>
              <a:buFont typeface="Arial" panose="020B0604020202020204" pitchFamily="34" charset="0"/>
              <a:buChar char="•"/>
            </a:pPr>
            <a:endParaRPr lang="hu-HU" sz="1600" dirty="0">
              <a:solidFill>
                <a:schemeClr val="tx1"/>
              </a:solidFill>
              <a:latin typeface="Calibri  "/>
              <a:cs typeface="Arial" panose="020B0604020202020204" pitchFamily="34" charset="0"/>
            </a:endParaRPr>
          </a:p>
          <a:p>
            <a:pPr lvl="1">
              <a:buClrTx/>
            </a:pPr>
            <a:r>
              <a:rPr lang="hu-HU" sz="1600" b="1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Szankció mértéke: </a:t>
            </a:r>
            <a:r>
              <a:rPr lang="hu-HU" sz="1600" dirty="0">
                <a:solidFill>
                  <a:schemeClr val="tx1"/>
                </a:solidFill>
                <a:latin typeface="Calibri  "/>
                <a:cs typeface="Arial" panose="020B0604020202020204" pitchFamily="34" charset="0"/>
              </a:rPr>
              <a:t>6% illetve 10%/20% </a:t>
            </a:r>
          </a:p>
        </p:txBody>
      </p:sp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F66A9893-CDD4-3B0B-A0E3-C01D9A911DC3}"/>
              </a:ext>
            </a:extLst>
          </p:cNvPr>
          <p:cNvSpPr txBox="1">
            <a:spLocks/>
          </p:cNvSpPr>
          <p:nvPr/>
        </p:nvSpPr>
        <p:spPr bwMode="gray">
          <a:xfrm>
            <a:off x="4669211" y="1718806"/>
            <a:ext cx="3911982" cy="347201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buClr>
                <a:srgbClr val="E20074"/>
              </a:buClr>
            </a:pPr>
            <a:r>
              <a:rPr lang="hu-HU" sz="1600" b="1" dirty="0">
                <a:solidFill>
                  <a:schemeClr val="bg1"/>
                </a:solidFill>
                <a:latin typeface="Calibri  "/>
                <a:cs typeface="Arial" panose="020B0604020202020204" pitchFamily="34" charset="0"/>
              </a:rPr>
              <a:t>Digitális iparág joga </a:t>
            </a:r>
          </a:p>
        </p:txBody>
      </p:sp>
    </p:spTree>
    <p:extLst>
      <p:ext uri="{BB962C8B-B14F-4D97-AF65-F5344CB8AC3E}">
        <p14:creationId xmlns:p14="http://schemas.microsoft.com/office/powerpoint/2010/main" val="2113979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520700" y="96838"/>
            <a:ext cx="8229600" cy="1143000"/>
          </a:xfrm>
        </p:spPr>
        <p:txBody>
          <a:bodyPr>
            <a:normAutofit/>
          </a:bodyPr>
          <a:lstStyle/>
          <a:p>
            <a:r>
              <a:rPr lang="hu-HU" b="1" dirty="0">
                <a:latin typeface="+mj-lt"/>
              </a:rPr>
              <a:t>Következtetések, kérdések 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hu-HU" sz="2200" dirty="0">
              <a:latin typeface="+mj-lt"/>
            </a:endParaRPr>
          </a:p>
          <a:p>
            <a:pPr marL="0" indent="0">
              <a:spcBef>
                <a:spcPts val="0"/>
              </a:spcBef>
              <a:buNone/>
            </a:pPr>
            <a:endParaRPr lang="hu-HU" sz="2200" dirty="0">
              <a:latin typeface="+mj-lt"/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19B7C8B1-5A20-134E-D0DF-07FCCF446013}"/>
              </a:ext>
            </a:extLst>
          </p:cNvPr>
          <p:cNvSpPr txBox="1"/>
          <p:nvPr/>
        </p:nvSpPr>
        <p:spPr>
          <a:xfrm>
            <a:off x="457200" y="1386348"/>
            <a:ext cx="8229600" cy="40780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sz="19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hu-HU" sz="19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ljárások egységesítésének módszerei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gállami hatóságok együttműködése egyes ügyekben (fogyasztóvédelem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agállami hatóságok strukturális együttműködése (hírközlé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zottság és tagállami hatóságok együttműködése (versenyjog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zottság beavatkozása tagállami hatóság eljárásába (hírközlé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izottság eljárása (DMA)</a:t>
            </a:r>
          </a:p>
          <a:p>
            <a:r>
              <a:rPr lang="hu-H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r>
              <a:rPr lang="hu-HU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gységes piac – egységes eljárások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hu-HU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Soft</a:t>
            </a:r>
            <a:r>
              <a:rPr lang="hu-H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hu-HU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law</a:t>
            </a:r>
            <a:r>
              <a:rPr lang="hu-H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zerepe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 közigazgatási eljárási szabályok egységesítése: hatóságok együttműködése / Bizottság szerepe és szankciók mérték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Közigazgatási eljárások = piaci beavatkozások </a:t>
            </a:r>
          </a:p>
          <a:p>
            <a:endParaRPr lang="hu-H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245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hu-HU" sz="36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5" y="1477368"/>
            <a:ext cx="8229600" cy="4525963"/>
          </a:xfrm>
        </p:spPr>
        <p:txBody>
          <a:bodyPr>
            <a:normAutofit/>
          </a:bodyPr>
          <a:lstStyle/>
          <a:p>
            <a:pPr>
              <a:spcBef>
                <a:spcPts val="800"/>
              </a:spcBef>
              <a:buNone/>
            </a:pPr>
            <a:endParaRPr lang="hu-HU" b="1" dirty="0"/>
          </a:p>
          <a:p>
            <a:pPr>
              <a:spcBef>
                <a:spcPts val="800"/>
              </a:spcBef>
              <a:buNone/>
            </a:pPr>
            <a:endParaRPr lang="hu-HU" b="1" dirty="0"/>
          </a:p>
          <a:p>
            <a:pPr>
              <a:spcBef>
                <a:spcPts val="800"/>
              </a:spcBef>
              <a:buNone/>
            </a:pPr>
            <a:r>
              <a:rPr lang="hu-HU" b="1" dirty="0">
                <a:latin typeface="+mj-lt"/>
              </a:rPr>
              <a:t>Köszönöm a figyelmet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521388" y="5476097"/>
            <a:ext cx="1483056" cy="851848"/>
          </a:xfrm>
          <a:prstGeom prst="rect">
            <a:avLst/>
          </a:prstGeom>
        </p:spPr>
        <p:txBody>
          <a:bodyPr/>
          <a:lstStyle/>
          <a:p>
            <a:fld id="{87510F33-F845-2F48-8657-E19C35B45777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(EN) ÁJK Bemutat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60</Words>
  <Application>Microsoft Office PowerPoint</Application>
  <PresentationFormat>Diavetítés a képernyőre (4:3 oldalarány)</PresentationFormat>
  <Paragraphs>95</Paragraphs>
  <Slides>7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 </vt:lpstr>
      <vt:lpstr>Wingdings</vt:lpstr>
      <vt:lpstr>(EN) ÁJK Bemutató</vt:lpstr>
      <vt:lpstr>think-cell Slide</vt:lpstr>
      <vt:lpstr>Az európai intézményrendszer hatása a magyar közigazgatási eljárásjogra  </vt:lpstr>
      <vt:lpstr>Uniós szervezetrendszer és magyar eljárások  </vt:lpstr>
      <vt:lpstr>Anyagi jogi egységesítés és eljárásjogi egységesítés </vt:lpstr>
      <vt:lpstr>Egyes ágazati szabályok </vt:lpstr>
      <vt:lpstr>Egyes ágazati szabályok </vt:lpstr>
      <vt:lpstr>Következtetések, kérdések </vt:lpstr>
      <vt:lpstr>PowerPoint-bemutató</vt:lpstr>
    </vt:vector>
  </TitlesOfParts>
  <Company>ELTE ÁJ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Rozsnyai Krisztina</dc:creator>
  <cp:lastModifiedBy>Dr. Balogh Virág</cp:lastModifiedBy>
  <cp:revision>175</cp:revision>
  <dcterms:created xsi:type="dcterms:W3CDTF">2016-05-28T21:32:33Z</dcterms:created>
  <dcterms:modified xsi:type="dcterms:W3CDTF">2023-11-17T07:56:17Z</dcterms:modified>
</cp:coreProperties>
</file>